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  <p:sldMasterId id="2147483733" r:id="rId2"/>
    <p:sldMasterId id="2147483740" r:id="rId3"/>
    <p:sldMasterId id="2147483750" r:id="rId4"/>
    <p:sldMasterId id="2147483760" r:id="rId5"/>
    <p:sldMasterId id="2147483770" r:id="rId6"/>
    <p:sldMasterId id="2147483780" r:id="rId7"/>
    <p:sldMasterId id="2147483790" r:id="rId8"/>
    <p:sldMasterId id="2147483802" r:id="rId9"/>
  </p:sldMasterIdLst>
  <p:notesMasterIdLst>
    <p:notesMasterId r:id="rId30"/>
  </p:notesMasterIdLst>
  <p:handoutMasterIdLst>
    <p:handoutMasterId r:id="rId31"/>
  </p:handoutMasterIdLst>
  <p:sldIdLst>
    <p:sldId id="313" r:id="rId10"/>
    <p:sldId id="279" r:id="rId11"/>
    <p:sldId id="294" r:id="rId12"/>
    <p:sldId id="321" r:id="rId13"/>
    <p:sldId id="284" r:id="rId14"/>
    <p:sldId id="338" r:id="rId15"/>
    <p:sldId id="297" r:id="rId16"/>
    <p:sldId id="328" r:id="rId17"/>
    <p:sldId id="286" r:id="rId18"/>
    <p:sldId id="315" r:id="rId19"/>
    <p:sldId id="333" r:id="rId20"/>
    <p:sldId id="329" r:id="rId21"/>
    <p:sldId id="303" r:id="rId22"/>
    <p:sldId id="312" r:id="rId23"/>
    <p:sldId id="310" r:id="rId24"/>
    <p:sldId id="332" r:id="rId25"/>
    <p:sldId id="335" r:id="rId26"/>
    <p:sldId id="339" r:id="rId27"/>
    <p:sldId id="325" r:id="rId28"/>
    <p:sldId id="341" r:id="rId29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orient="horz" pos="1791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CC3366"/>
    <a:srgbClr val="9BD197"/>
    <a:srgbClr val="000000"/>
    <a:srgbClr val="8CC63F"/>
    <a:srgbClr val="2C1B07"/>
    <a:srgbClr val="E8E251"/>
    <a:srgbClr val="0094C8"/>
    <a:srgbClr val="FF0066"/>
    <a:srgbClr val="008B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52" autoAdjust="0"/>
    <p:restoredTop sz="71449" autoAdjust="0"/>
  </p:normalViewPr>
  <p:slideViewPr>
    <p:cSldViewPr snapToGrid="0">
      <p:cViewPr>
        <p:scale>
          <a:sx n="70" d="100"/>
          <a:sy n="70" d="100"/>
        </p:scale>
        <p:origin x="-1188" y="-72"/>
      </p:cViewPr>
      <p:guideLst>
        <p:guide orient="horz" pos="3111"/>
        <p:guide orient="horz" pos="1546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>
      <p:cViewPr>
        <p:scale>
          <a:sx n="80" d="100"/>
          <a:sy n="80" d="100"/>
        </p:scale>
        <p:origin x="-3968" y="-2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F01FAD-3B7A-8648-96C0-AF8692BBD09F}" type="datetimeFigureOut">
              <a:rPr lang="en-US" smtClean="0"/>
              <a:t>4/1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515556-D9BA-AC4F-8C80-53CFB8133B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684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B04001-806A-2547-9373-6BBDF3878FEC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1C350F-3385-624D-815C-6326D5A892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3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0164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0158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>
              <a:sym typeface="Wingding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8852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78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887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6593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227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sng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8000" y="831334"/>
            <a:ext cx="3155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Green </a:t>
            </a:r>
            <a:r>
              <a:rPr lang="en-US" dirty="0" err="1" smtClean="0">
                <a:solidFill>
                  <a:prstClr val="white"/>
                </a:solidFill>
                <a:latin typeface="Calibri"/>
              </a:rPr>
              <a:t>icson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small team in circle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92625" y="685800"/>
            <a:ext cx="11565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alibri"/>
              </a:rPr>
              <a:t>Laura</a:t>
            </a:r>
          </a:p>
          <a:p>
            <a:r>
              <a:rPr lang="en-US" dirty="0" smtClean="0">
                <a:solidFill>
                  <a:srgbClr val="FFFFFF"/>
                </a:solidFill>
                <a:latin typeface="Calibri"/>
              </a:rPr>
              <a:t>Bill example of PODS</a:t>
            </a:r>
            <a:endParaRPr lang="en-US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78194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/>
              <a:buNone/>
            </a:pPr>
            <a:endParaRPr lang="en-US" sz="11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202881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15653" y="693182"/>
            <a:ext cx="1156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alibri"/>
              </a:rPr>
              <a:t>Bill</a:t>
            </a:r>
            <a:endParaRPr lang="en-US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085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403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338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15653" y="693182"/>
            <a:ext cx="1156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alibri"/>
              </a:rPr>
              <a:t>Bill</a:t>
            </a:r>
            <a:endParaRPr lang="en-US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88616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302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601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409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115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1345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4884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350F-3385-624D-815C-6326D5A892A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704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0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5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16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033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896" y="5134067"/>
            <a:ext cx="6405654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892" y="982008"/>
            <a:ext cx="1876425" cy="60362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11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690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ig Id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8" y="1477805"/>
            <a:ext cx="12188825" cy="3703796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6131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791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New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960472"/>
            <a:ext cx="12188824" cy="2587831"/>
          </a:xfrm>
          <a:prstGeom prst="rect">
            <a:avLst/>
          </a:prstGeom>
          <a:gradFill>
            <a:gsLst>
              <a:gs pos="100000">
                <a:srgbClr val="FFFFFF">
                  <a:alpha val="10000"/>
                </a:srgbClr>
              </a:gs>
              <a:gs pos="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64855" y="1913834"/>
            <a:ext cx="11010802" cy="681038"/>
          </a:xfrm>
          <a:prstGeom prst="rect">
            <a:avLst/>
          </a:prstGeom>
        </p:spPr>
        <p:txBody>
          <a:bodyPr anchor="ctr"/>
          <a:lstStyle>
            <a:lvl1pPr algn="r">
              <a:defRPr sz="5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1" b="39027"/>
          <a:stretch/>
        </p:blipFill>
        <p:spPr>
          <a:xfrm>
            <a:off x="17" y="3328847"/>
            <a:ext cx="4539938" cy="35291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92" y="5212114"/>
            <a:ext cx="1876425" cy="603629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0750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64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lank with Stack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328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86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1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098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289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599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705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55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742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46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697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084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266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40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9779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237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00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0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671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353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334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1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872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790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2853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804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98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584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4271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2883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164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261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3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53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3635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877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06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9485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335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503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205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6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75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964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5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016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970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0651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497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229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63" y="1436688"/>
            <a:ext cx="10961478" cy="4729162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3200"/>
            </a:lvl1pPr>
            <a:lvl2pPr>
              <a:buClr>
                <a:schemeClr val="bg2"/>
              </a:buClr>
              <a:defRPr sz="3000"/>
            </a:lvl2pPr>
            <a:lvl3pPr>
              <a:buClr>
                <a:schemeClr val="bg2"/>
              </a:buClr>
              <a:defRPr sz="2800"/>
            </a:lvl3pPr>
            <a:lvl4pPr>
              <a:buClr>
                <a:schemeClr val="bg2"/>
              </a:buClr>
              <a:defRPr sz="2600"/>
            </a:lvl4pPr>
            <a:lvl5pPr>
              <a:buClr>
                <a:schemeClr val="bg2"/>
              </a:buCl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442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874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No Cor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8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15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" y="1877609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5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21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bg2">
                    <a:lumMod val="75000"/>
                    <a:alpha val="54000"/>
                  </a:schemeClr>
                </a:gs>
                <a:gs pos="100000">
                  <a:schemeClr val="bg2">
                    <a:lumMod val="20000"/>
                    <a:lumOff val="80000"/>
                    <a:alpha val="8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21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bg2">
                    <a:lumMod val="75000"/>
                    <a:alpha val="54000"/>
                  </a:schemeClr>
                </a:gs>
                <a:gs pos="0">
                  <a:schemeClr val="bg2">
                    <a:lumMod val="20000"/>
                    <a:lumOff val="80000"/>
                    <a:alpha val="8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7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9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21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bg2">
                    <a:lumMod val="75000"/>
                    <a:alpha val="54000"/>
                  </a:schemeClr>
                </a:gs>
                <a:gs pos="100000">
                  <a:schemeClr val="bg2">
                    <a:lumMod val="20000"/>
                    <a:lumOff val="80000"/>
                    <a:alpha val="8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>
            <a:off x="21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bg2">
                    <a:lumMod val="75000"/>
                    <a:alpha val="54000"/>
                  </a:schemeClr>
                </a:gs>
                <a:gs pos="0">
                  <a:schemeClr val="bg2">
                    <a:lumMod val="20000"/>
                    <a:lumOff val="80000"/>
                    <a:alpha val="8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910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68530"/>
            <a:ext cx="1143000" cy="3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761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3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5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1347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78026"/>
            <a:ext cx="1143000" cy="332671"/>
          </a:xfrm>
          <a:prstGeom prst="rect">
            <a:avLst/>
          </a:prstGeom>
        </p:spPr>
      </p:pic>
      <p:sp>
        <p:nvSpPr>
          <p:cNvPr id="8" name="Text Box 54"/>
          <p:cNvSpPr txBox="1">
            <a:spLocks noChangeArrowheads="1"/>
          </p:cNvSpPr>
          <p:nvPr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9" name="Slide Number Placeholder 8"/>
          <p:cNvSpPr txBox="1">
            <a:spLocks/>
          </p:cNvSpPr>
          <p:nvPr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24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78026"/>
            <a:ext cx="1143000" cy="332671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77" y="6543675"/>
            <a:ext cx="1710725" cy="210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9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srgbClr val="505050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srgbClr val="505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170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14" y="0"/>
            <a:ext cx="5029201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7" y="366126"/>
            <a:ext cx="6111875" cy="12668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47" y="1906588"/>
            <a:ext cx="6111875" cy="2743200"/>
          </a:xfrm>
          <a:prstGeom prst="rect">
            <a:avLst/>
          </a:prstGeom>
        </p:spPr>
        <p:txBody>
          <a:bodyPr/>
          <a:lstStyle>
            <a:lvl1pPr>
              <a:buClr>
                <a:srgbClr val="365EBF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78026"/>
            <a:ext cx="1143000" cy="33267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14" y="6378026"/>
            <a:ext cx="1143000" cy="33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053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- Big Ide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4" y="1477805"/>
            <a:ext cx="12188825" cy="3703796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6132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72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3" y="960756"/>
            <a:ext cx="12188824" cy="2587831"/>
          </a:xfrm>
          <a:prstGeom prst="rect">
            <a:avLst/>
          </a:prstGeom>
          <a:gradFill>
            <a:gsLst>
              <a:gs pos="100000">
                <a:srgbClr val="FFFFFF">
                  <a:alpha val="10000"/>
                </a:srgbClr>
              </a:gs>
              <a:gs pos="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65069" y="1913834"/>
            <a:ext cx="11010803" cy="681038"/>
          </a:xfrm>
          <a:prstGeom prst="rect">
            <a:avLst/>
          </a:prstGeom>
        </p:spPr>
        <p:txBody>
          <a:bodyPr anchor="ctr"/>
          <a:lstStyle>
            <a:lvl1pPr algn="r">
              <a:defRPr sz="55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292555"/>
            <a:ext cx="4613090" cy="356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541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63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" y="100588"/>
            <a:ext cx="12188825" cy="679861"/>
          </a:xfrm>
          <a:prstGeom prst="rect">
            <a:avLst/>
          </a:prstGeom>
        </p:spPr>
        <p:txBody>
          <a:bodyPr lIns="91400" tIns="45701" rIns="91400" bIns="45701"/>
          <a:lstStyle>
            <a:lvl1pPr>
              <a:defRPr lang="en-US" sz="3200" b="0" dirty="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3390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74828" y="1219200"/>
            <a:ext cx="9896107" cy="4729162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60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95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723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" y="1877325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90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7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46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623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2320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8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44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42" y="304834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2743200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defRPr sz="2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buClr>
                <a:schemeClr val="accent1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667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844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Intuit Confidential and Proprietary</a:t>
            </a:r>
            <a:endParaRPr lang="en-US" sz="800" kern="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4737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529589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66" y="4086890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61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913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934" y="982484"/>
            <a:ext cx="1874520" cy="603153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3048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205" y="6422834"/>
            <a:ext cx="938538" cy="273184"/>
          </a:xfrm>
          <a:prstGeom prst="rect">
            <a:avLst/>
          </a:prstGeom>
        </p:spPr>
      </p:pic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uit Confidential and Propriet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25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876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vmlDrawing" Target="../drawings/vmlDrawing13.v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166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6" r:id="rId5"/>
    <p:sldLayoutId id="2147483727" r:id="rId6"/>
    <p:sldLayoutId id="2147483728" r:id="rId7"/>
    <p:sldLayoutId id="2147483729" r:id="rId8"/>
    <p:sldLayoutId id="2147483730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6643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9" r:id="rId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449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373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3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37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0023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608" y="1668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68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33574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ransition>
    <p:fade/>
  </p:transition>
  <p:timing>
    <p:tnLst>
      <p:par>
        <p:cTn id="1" dur="indefinite" restart="never" nodeType="tmRoot"/>
      </p:par>
    </p:tnLst>
  </p:timing>
  <p:hf sldNum="0" hdr="0" ft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lang="en-US" sz="3600" b="0" dirty="0" smtClean="0">
          <a:solidFill>
            <a:srgbClr val="365EBF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2F5EBF"/>
          </a:solidFill>
          <a:latin typeface="Verdana" pitchFamily="34" charset="0"/>
        </a:defRPr>
      </a:lvl9pPr>
    </p:titleStyle>
    <p:bodyStyle>
      <a:lvl1pPr marL="225425" indent="-225425" algn="l" rtl="0" eaLnBrk="1" fontAlgn="base" hangingPunct="1">
        <a:spcBef>
          <a:spcPts val="900"/>
        </a:spcBef>
        <a:spcAft>
          <a:spcPts val="900"/>
        </a:spcAft>
        <a:buClr>
          <a:srgbClr val="4E84C4"/>
        </a:buClr>
        <a:buFont typeface="Times" pitchFamily="18" charset="0"/>
        <a:buChar char="•"/>
        <a:defRPr sz="2800">
          <a:solidFill>
            <a:srgbClr val="505050"/>
          </a:solidFill>
          <a:latin typeface="Arial" pitchFamily="34" charset="0"/>
          <a:ea typeface="+mn-ea"/>
          <a:cs typeface="Arial" pitchFamily="34" charset="0"/>
        </a:defRPr>
      </a:lvl1pPr>
      <a:lvl2pPr marL="569913" indent="-287338" algn="l" rtl="0" eaLnBrk="1" fontAlgn="base" hangingPunct="1">
        <a:spcBef>
          <a:spcPts val="900"/>
        </a:spcBef>
        <a:spcAft>
          <a:spcPts val="900"/>
        </a:spcAft>
        <a:buClr>
          <a:srgbClr val="4E84C4"/>
        </a:buClr>
        <a:buFont typeface="Times" pitchFamily="18" charset="0"/>
        <a:buChar char="–"/>
        <a:defRPr sz="2400">
          <a:solidFill>
            <a:srgbClr val="505050"/>
          </a:solidFill>
          <a:latin typeface="Arial" pitchFamily="34" charset="0"/>
          <a:cs typeface="Arial" pitchFamily="34" charset="0"/>
        </a:defRPr>
      </a:lvl2pPr>
      <a:lvl3pPr marL="747713" indent="-182563" algn="l" rtl="0" eaLnBrk="1" fontAlgn="base" hangingPunct="1">
        <a:spcBef>
          <a:spcPts val="900"/>
        </a:spcBef>
        <a:spcAft>
          <a:spcPts val="900"/>
        </a:spcAft>
        <a:buClr>
          <a:srgbClr val="4E84C4"/>
        </a:buClr>
        <a:buFont typeface="Times" pitchFamily="18" charset="0"/>
        <a:buChar char="•"/>
        <a:defRPr sz="2000">
          <a:solidFill>
            <a:srgbClr val="505050"/>
          </a:solidFill>
          <a:latin typeface="Arial" pitchFamily="34" charset="0"/>
          <a:cs typeface="Arial" pitchFamily="34" charset="0"/>
        </a:defRPr>
      </a:lvl3pPr>
      <a:lvl4pPr marL="911225" indent="-112713" algn="l" rtl="0" eaLnBrk="1" fontAlgn="base" hangingPunct="1">
        <a:spcBef>
          <a:spcPts val="900"/>
        </a:spcBef>
        <a:spcAft>
          <a:spcPts val="900"/>
        </a:spcAft>
        <a:buClr>
          <a:srgbClr val="4E84C4"/>
        </a:buClr>
        <a:buFont typeface="Times" pitchFamily="18" charset="0"/>
        <a:buChar char="-"/>
        <a:defRPr sz="1800">
          <a:solidFill>
            <a:srgbClr val="505050"/>
          </a:solidFill>
          <a:latin typeface="Arial" pitchFamily="34" charset="0"/>
          <a:cs typeface="Arial" pitchFamily="34" charset="0"/>
        </a:defRPr>
      </a:lvl4pPr>
      <a:lvl5pPr marL="1200150" indent="-168275" algn="l" rtl="0" eaLnBrk="1" fontAlgn="base" hangingPunct="1">
        <a:spcBef>
          <a:spcPts val="900"/>
        </a:spcBef>
        <a:spcAft>
          <a:spcPts val="900"/>
        </a:spcAft>
        <a:buClr>
          <a:srgbClr val="4E84C4"/>
        </a:buClr>
        <a:buFont typeface="Times" pitchFamily="18" charset="0"/>
        <a:buChar char="•"/>
        <a:defRPr sz="1800">
          <a:solidFill>
            <a:srgbClr val="505050"/>
          </a:solidFill>
          <a:latin typeface="Arial" pitchFamily="34" charset="0"/>
          <a:cs typeface="Arial" pitchFamily="34" charset="0"/>
        </a:defRPr>
      </a:lvl5pPr>
      <a:lvl6pPr marL="1600200" indent="-111125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Times" pitchFamily="18" charset="0"/>
        <a:buChar char="•"/>
        <a:defRPr sz="1400">
          <a:solidFill>
            <a:srgbClr val="000000"/>
          </a:solidFill>
          <a:latin typeface="+mn-lt"/>
        </a:defRPr>
      </a:lvl6pPr>
      <a:lvl7pPr marL="2057400" indent="-111125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Times" pitchFamily="18" charset="0"/>
        <a:buChar char="•"/>
        <a:defRPr sz="1400">
          <a:solidFill>
            <a:srgbClr val="000000"/>
          </a:solidFill>
          <a:latin typeface="+mn-lt"/>
        </a:defRPr>
      </a:lvl7pPr>
      <a:lvl8pPr marL="2514600" indent="-111125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Times" pitchFamily="18" charset="0"/>
        <a:buChar char="•"/>
        <a:defRPr sz="1400">
          <a:solidFill>
            <a:srgbClr val="000000"/>
          </a:solidFill>
          <a:latin typeface="+mn-lt"/>
        </a:defRPr>
      </a:lvl8pPr>
      <a:lvl9pPr marL="2971800" indent="-111125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Times" pitchFamily="18" charset="0"/>
        <a:buChar char="•"/>
        <a:defRPr sz="14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0007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jpe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Relationship Id="rId1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 rot="21285980">
            <a:off x="2895716" y="2028833"/>
            <a:ext cx="6704314" cy="2173204"/>
          </a:xfrm>
          <a:prstGeom prst="roundRect">
            <a:avLst/>
          </a:prstGeom>
          <a:noFill/>
          <a:ln w="203200" cmpd="sng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 rot="21288645">
            <a:off x="2580312" y="2083652"/>
            <a:ext cx="743711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500" dirty="0" smtClean="0">
                <a:solidFill>
                  <a:schemeClr val="bg1"/>
                </a:solidFill>
                <a:latin typeface="TOSCA ZERO" panose="02000400000000000000" pitchFamily="50" charset="0"/>
                <a:ea typeface="TOSCA ZERO" panose="02000400000000000000" pitchFamily="50" charset="0"/>
                <a:cs typeface="Gotham Bold" pitchFamily="50" charset="0"/>
              </a:rPr>
              <a:t>made in</a:t>
            </a:r>
            <a:br>
              <a:rPr lang="en-US" sz="7500" dirty="0" smtClean="0">
                <a:solidFill>
                  <a:schemeClr val="bg1"/>
                </a:solidFill>
                <a:latin typeface="TOSCA ZERO" panose="02000400000000000000" pitchFamily="50" charset="0"/>
                <a:ea typeface="TOSCA ZERO" panose="02000400000000000000" pitchFamily="50" charset="0"/>
                <a:cs typeface="Gotham Bold" pitchFamily="50" charset="0"/>
              </a:rPr>
            </a:br>
            <a:r>
              <a:rPr lang="en-US" sz="7500" dirty="0" smtClean="0">
                <a:solidFill>
                  <a:schemeClr val="bg1"/>
                </a:solidFill>
                <a:latin typeface="TOSCA ZERO" panose="02000400000000000000" pitchFamily="50" charset="0"/>
                <a:ea typeface="TOSCA ZERO" panose="02000400000000000000" pitchFamily="50" charset="0"/>
                <a:cs typeface="Gotham Bold" pitchFamily="50" charset="0"/>
              </a:rPr>
              <a:t>silicon valle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47874" y="5317913"/>
            <a:ext cx="5529142" cy="1292662"/>
          </a:xfrm>
          <a:prstGeom prst="rect">
            <a:avLst/>
          </a:prstGeom>
          <a:effectLst>
            <a:outerShdw blurRad="76200" dist="50800" dir="5400000" sx="15000" sy="15000" rotWithShape="0">
              <a:prstClr val="black"/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Laura Fennell, Intuit</a:t>
            </a:r>
          </a:p>
          <a:p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SVP, Legal, Data, Compliance &amp; Policy</a:t>
            </a:r>
          </a:p>
          <a:p>
            <a:endParaRPr lang="en-US" sz="26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71922" y="665532"/>
            <a:ext cx="74371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5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A Marriage</a:t>
            </a:r>
            <a:endParaRPr lang="en-US" sz="55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3808" y="5317913"/>
            <a:ext cx="4899298" cy="1692771"/>
          </a:xfrm>
          <a:prstGeom prst="rect">
            <a:avLst/>
          </a:prstGeom>
          <a:effectLst>
            <a:outerShdw blurRad="76200" dist="50800" dir="5400000" sx="15000" sy="15000" rotWithShape="0">
              <a:prstClr val="black"/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Bill Loconzolo, Intuit</a:t>
            </a:r>
          </a:p>
          <a:p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VP Data Engineering &amp; Science</a:t>
            </a:r>
          </a:p>
          <a:p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@</a:t>
            </a:r>
            <a:r>
              <a:rPr lang="en-US" sz="2600" dirty="0" err="1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bloconzolo</a:t>
            </a:r>
            <a:r>
              <a:rPr lang="en-US" sz="26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    #</a:t>
            </a:r>
            <a:r>
              <a:rPr lang="en-US" sz="2600" dirty="0" err="1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intuitdata</a:t>
            </a:r>
            <a:endParaRPr lang="en-US" sz="2600" dirty="0" smtClean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  <a:p>
            <a:endParaRPr lang="en-US" sz="26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466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372127" y="2055272"/>
            <a:ext cx="16626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bg1"/>
                </a:solidFill>
                <a:latin typeface="HelveticaNeueLT Std" panose="020B0604020202020204" pitchFamily="34" charset="0"/>
                <a:cs typeface="Gotham Black" pitchFamily="50" charset="0"/>
              </a:rPr>
              <a:t>50M+</a:t>
            </a:r>
            <a:endParaRPr lang="en-US" sz="44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54758" y="2609270"/>
            <a:ext cx="278473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manage all of </a:t>
            </a:r>
            <a:r>
              <a:rPr lang="en-US" sz="2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the 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68703" y="5400635"/>
            <a:ext cx="266932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complex </a:t>
            </a:r>
            <a:r>
              <a:rPr lang="en-US" sz="2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complian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18402" y="5400635"/>
            <a:ext cx="29947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public </a:t>
            </a:r>
            <a:r>
              <a:rPr lang="en-US" sz="2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and private cloud</a:t>
            </a:r>
          </a:p>
        </p:txBody>
      </p:sp>
      <p:sp>
        <p:nvSpPr>
          <p:cNvPr id="2" name="Rectangle 1"/>
          <p:cNvSpPr/>
          <p:nvPr/>
        </p:nvSpPr>
        <p:spPr>
          <a:xfrm>
            <a:off x="890986" y="2609270"/>
            <a:ext cx="266932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 customers to handl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954520" y="2045998"/>
            <a:ext cx="8370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bg1"/>
                </a:solidFill>
                <a:latin typeface="HelveticaNeueLT Std" panose="020B0604020202020204" pitchFamily="34" charset="0"/>
                <a:cs typeface="Gotham Black" pitchFamily="50" charset="0"/>
              </a:rPr>
              <a:t>6+</a:t>
            </a:r>
            <a:endParaRPr lang="en-US" sz="44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218742" y="2609270"/>
            <a:ext cx="230864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 </a:t>
            </a:r>
            <a:r>
              <a:rPr lang="en-US" sz="2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petabytes of data</a:t>
            </a:r>
            <a:endParaRPr lang="en-US" sz="2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008" y="957842"/>
            <a:ext cx="2072872" cy="11409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046" y="1051233"/>
            <a:ext cx="1330578" cy="13689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998" y="3955806"/>
            <a:ext cx="780047" cy="13768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050" y="4094029"/>
            <a:ext cx="1387053" cy="9248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040" y="4248902"/>
            <a:ext cx="1508910" cy="1006131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8897" y="905631"/>
            <a:ext cx="1328335" cy="1179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22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808480" y="1708853"/>
            <a:ext cx="9817274" cy="270843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Solving big,</a:t>
            </a:r>
            <a:b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</a:br>
            <a: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important problems.</a:t>
            </a:r>
            <a:endParaRPr lang="en-US" sz="85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707755" y="5150950"/>
            <a:ext cx="8785970" cy="658199"/>
            <a:chOff x="1538425" y="5150950"/>
            <a:chExt cx="8785970" cy="658199"/>
          </a:xfrm>
        </p:grpSpPr>
        <p:pic>
          <p:nvPicPr>
            <p:cNvPr id="6" name="Picture 5" descr="TT_Logo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425" y="5170327"/>
              <a:ext cx="2375410" cy="638822"/>
            </a:xfrm>
            <a:prstGeom prst="rect">
              <a:avLst/>
            </a:prstGeom>
          </p:spPr>
        </p:pic>
        <p:pic>
          <p:nvPicPr>
            <p:cNvPr id="3" name="Picture 2" descr="QB_IntuitLogo_Horiz_Rev_PMS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9607" y="5217459"/>
              <a:ext cx="2375410" cy="527337"/>
            </a:xfrm>
            <a:prstGeom prst="rect">
              <a:avLst/>
            </a:prstGeom>
          </p:spPr>
        </p:pic>
        <p:pic>
          <p:nvPicPr>
            <p:cNvPr id="5" name="Picture 4" descr="Mint_logo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0789" y="5150950"/>
              <a:ext cx="1583606" cy="5641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33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242"/>
          <p:cNvSpPr txBox="1"/>
          <p:nvPr/>
        </p:nvSpPr>
        <p:spPr>
          <a:xfrm>
            <a:off x="1285136" y="6150316"/>
            <a:ext cx="3311138" cy="454800"/>
          </a:xfrm>
          <a:prstGeom prst="rect">
            <a:avLst/>
          </a:prstGeom>
          <a:noFill/>
          <a:ln>
            <a:noFill/>
          </a:ln>
        </p:spPr>
        <p:txBody>
          <a:bodyPr lIns="121879" tIns="121879" rIns="121879" bIns="121879" anchor="t" anchorCtr="0">
            <a:noAutofit/>
          </a:bodyPr>
          <a:lstStyle/>
          <a:p>
            <a:r>
              <a:rPr lang="en-US" sz="20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  <a:sym typeface="Calibri"/>
              </a:rPr>
              <a:t>Technology first, then legal</a:t>
            </a:r>
            <a:endParaRPr lang="en" sz="20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  <a:sym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277" y="731264"/>
            <a:ext cx="3897398" cy="51930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7971" y="700415"/>
            <a:ext cx="3949700" cy="5207000"/>
          </a:xfrm>
          <a:prstGeom prst="rect">
            <a:avLst/>
          </a:prstGeom>
        </p:spPr>
      </p:pic>
      <p:sp>
        <p:nvSpPr>
          <p:cNvPr id="77" name="Shape 242"/>
          <p:cNvSpPr txBox="1"/>
          <p:nvPr/>
        </p:nvSpPr>
        <p:spPr>
          <a:xfrm>
            <a:off x="7097480" y="6136841"/>
            <a:ext cx="3649371" cy="454800"/>
          </a:xfrm>
          <a:prstGeom prst="rect">
            <a:avLst/>
          </a:prstGeom>
          <a:noFill/>
          <a:ln>
            <a:noFill/>
          </a:ln>
        </p:spPr>
        <p:txBody>
          <a:bodyPr lIns="121879" tIns="121879" rIns="121879" bIns="121879" anchor="t" anchorCtr="0">
            <a:noAutofit/>
          </a:bodyPr>
          <a:lstStyle/>
          <a:p>
            <a:r>
              <a:rPr lang="en-US" sz="20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  <a:sym typeface="Calibri"/>
              </a:rPr>
              <a:t>Technology &amp; </a:t>
            </a:r>
            <a:r>
              <a:rPr lang="en-US" sz="2000" dirty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  <a:sym typeface="Calibri"/>
              </a:rPr>
              <a:t>l</a:t>
            </a:r>
            <a:r>
              <a:rPr lang="en-US" sz="20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  <a:sym typeface="Calibri"/>
              </a:rPr>
              <a:t>egal together</a:t>
            </a:r>
            <a:endParaRPr lang="en" sz="20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903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39" grpId="1"/>
      <p:bldP spid="77" grpId="0"/>
      <p:bldP spid="77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709319" y="2036410"/>
            <a:ext cx="8115104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So how did we do this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28" y="1972543"/>
            <a:ext cx="2836168" cy="283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70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709319" y="2395356"/>
            <a:ext cx="8079456" cy="1400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Shared outcome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28" y="1677464"/>
            <a:ext cx="2836168" cy="283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60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709319" y="1741331"/>
            <a:ext cx="6548075" cy="27084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Shared</a:t>
            </a:r>
            <a:br>
              <a:rPr lang="en-US" sz="8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</a:br>
            <a:r>
              <a:rPr lang="en-US" sz="85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accountability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28" y="1677464"/>
            <a:ext cx="2836168" cy="283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60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709319" y="1741331"/>
            <a:ext cx="7116051" cy="27084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Empowered for</a:t>
            </a:r>
            <a:b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</a:br>
            <a:r>
              <a:rPr lang="en-US" sz="8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execution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28" y="1677464"/>
            <a:ext cx="2836168" cy="283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974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96942" y="0"/>
            <a:ext cx="11566366" cy="1015663"/>
          </a:xfrm>
          <a:prstGeom prst="rect">
            <a:avLst/>
          </a:prstGeom>
          <a:effectLst>
            <a:outerShdw blurRad="76200" dist="50800" dir="5400000" sx="15000" sy="15000" rotWithShape="0">
              <a:prstClr val="black"/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Healthy tension builds trust</a:t>
            </a:r>
            <a:endParaRPr lang="en-US" sz="60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16567" y="1391498"/>
            <a:ext cx="1181501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11" b="24255"/>
          <a:stretch/>
        </p:blipFill>
        <p:spPr>
          <a:xfrm>
            <a:off x="291279" y="1401134"/>
            <a:ext cx="11702717" cy="498808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1" y="118113"/>
            <a:ext cx="1116216" cy="111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63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709319" y="2472301"/>
            <a:ext cx="7884716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Teach and repeat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19" y="1458093"/>
            <a:ext cx="3154700" cy="3276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90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05015" y="0"/>
            <a:ext cx="618381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828800" y="1339957"/>
            <a:ext cx="223811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dirty="0" smtClean="0">
                <a:latin typeface="HelveticaNeueLT Std Thin" panose="020B0403020202020204" pitchFamily="34" charset="0"/>
                <a:cs typeface="Gotham Bold" pitchFamily="50" charset="0"/>
              </a:rPr>
              <a:t>Legal</a:t>
            </a:r>
            <a:endParaRPr lang="en-US" sz="7200" dirty="0"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357935" y="1339957"/>
            <a:ext cx="196239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Data</a:t>
            </a:r>
            <a:endParaRPr lang="en-US" sz="7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" b="23025"/>
          <a:stretch/>
        </p:blipFill>
        <p:spPr>
          <a:xfrm>
            <a:off x="6005015" y="3526971"/>
            <a:ext cx="7013845" cy="333102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548" y="1162881"/>
            <a:ext cx="1554480" cy="15544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293"/>
          <a:stretch/>
        </p:blipFill>
        <p:spPr>
          <a:xfrm>
            <a:off x="545339" y="3526971"/>
            <a:ext cx="4884152" cy="3355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39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1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" dur="13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844E-6 3.7037E-6 L 0.05691 -0.00139 " pathEditMode="relative" rAng="0" ptsTypes="AA">
                                      <p:cBhvr>
                                        <p:cTn id="11" dur="1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39" y="-69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6551E-6 4.07407E-6 L -0.02279 0.00231 " pathEditMode="relative" rAng="0" ptsTypes="AA">
                                      <p:cBhvr>
                                        <p:cTn id="16" dur="1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6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14" r="13725"/>
          <a:stretch/>
        </p:blipFill>
        <p:spPr>
          <a:xfrm>
            <a:off x="216567" y="2156476"/>
            <a:ext cx="4376057" cy="305124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6" t="5084" r="15789"/>
          <a:stretch/>
        </p:blipFill>
        <p:spPr>
          <a:xfrm>
            <a:off x="4742121" y="2145434"/>
            <a:ext cx="3924971" cy="306228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4" t="8317" r="11396" b="4347"/>
          <a:stretch/>
        </p:blipFill>
        <p:spPr>
          <a:xfrm>
            <a:off x="8816588" y="2159000"/>
            <a:ext cx="3239058" cy="30522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216567" y="216569"/>
            <a:ext cx="7420621" cy="1200329"/>
          </a:xfrm>
          <a:prstGeom prst="rect">
            <a:avLst/>
          </a:prstGeom>
          <a:effectLst>
            <a:outerShdw blurRad="76200" dist="50800" dir="5400000" sx="15000" sy="15000" rotWithShape="0">
              <a:prstClr val="black"/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7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Other odd couples</a:t>
            </a:r>
            <a:endParaRPr lang="en-US" sz="7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16567" y="1391498"/>
            <a:ext cx="1181501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216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8" y="5444291"/>
            <a:ext cx="1054207" cy="109486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866900" y="454098"/>
            <a:ext cx="95980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Shared outcome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19" y="360286"/>
            <a:ext cx="972454" cy="97245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866900" y="1741185"/>
            <a:ext cx="95980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Shared </a:t>
            </a:r>
            <a:r>
              <a:rPr lang="en-US" sz="4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accountability.</a:t>
            </a:r>
            <a:endParaRPr lang="en-US" sz="45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19" y="1647373"/>
            <a:ext cx="972454" cy="97245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866900" y="3028272"/>
            <a:ext cx="95980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Empowered for execution.</a:t>
            </a:r>
            <a:endParaRPr lang="en-US" sz="45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19" y="2934460"/>
            <a:ext cx="972454" cy="9724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866900" y="4315359"/>
            <a:ext cx="95980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Healthy tension builds trust.</a:t>
            </a:r>
            <a:endParaRPr lang="en-US" sz="45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19" y="4221547"/>
            <a:ext cx="972454" cy="97245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866900" y="5602446"/>
            <a:ext cx="115062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 smtClean="0">
                <a:solidFill>
                  <a:prstClr val="white"/>
                </a:solidFill>
                <a:latin typeface="HelveticaNeueLT Std Thin" panose="020B0403020202020204" pitchFamily="34" charset="0"/>
                <a:cs typeface="Gotham Bold" pitchFamily="50" charset="0"/>
              </a:rPr>
              <a:t>Teach and repeat.</a:t>
            </a:r>
            <a:endParaRPr lang="en-US" sz="4500" dirty="0">
              <a:solidFill>
                <a:prstClr val="white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59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4"/>
          <a:stretch/>
        </p:blipFill>
        <p:spPr>
          <a:xfrm>
            <a:off x="6232358" y="2057400"/>
            <a:ext cx="5646069" cy="37057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216567" y="216569"/>
            <a:ext cx="1029485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Innovators vs. </a:t>
            </a:r>
            <a:r>
              <a:rPr lang="en-US" sz="7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regulators</a:t>
            </a:r>
            <a:endParaRPr lang="en-US" sz="7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16567" y="1391498"/>
            <a:ext cx="1181501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3" y="2057400"/>
            <a:ext cx="5509294" cy="37057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382582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16567" y="216569"/>
            <a:ext cx="110652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Things that go well together</a:t>
            </a:r>
            <a:endParaRPr lang="en-US" sz="7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16567" y="1391498"/>
            <a:ext cx="1181501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24466" r="19410" b="1066"/>
          <a:stretch/>
        </p:blipFill>
        <p:spPr>
          <a:xfrm>
            <a:off x="8244348" y="2166550"/>
            <a:ext cx="3787234" cy="3048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lum bright="5000" contras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" t="3671" b="10944"/>
          <a:stretch/>
        </p:blipFill>
        <p:spPr>
          <a:xfrm>
            <a:off x="216567" y="2166550"/>
            <a:ext cx="3544272" cy="303963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0" t="3590" r="10616" b="20327"/>
          <a:stretch/>
        </p:blipFill>
        <p:spPr>
          <a:xfrm>
            <a:off x="3972625" y="2164978"/>
            <a:ext cx="4059937" cy="3044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94920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18213" y="0"/>
            <a:ext cx="61706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828800" y="1339957"/>
            <a:ext cx="223811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dirty="0" smtClean="0">
                <a:latin typeface="HelveticaNeueLT Std Thin" panose="020B0403020202020204" pitchFamily="34" charset="0"/>
                <a:cs typeface="Gotham Bold" pitchFamily="50" charset="0"/>
              </a:rPr>
              <a:t>Legal</a:t>
            </a:r>
            <a:endParaRPr lang="en-US" sz="7200" dirty="0"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357935" y="1339957"/>
            <a:ext cx="196239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Data</a:t>
            </a:r>
            <a:endParaRPr lang="en-US" sz="7200" dirty="0">
              <a:solidFill>
                <a:schemeClr val="bg1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293"/>
          <a:stretch/>
        </p:blipFill>
        <p:spPr>
          <a:xfrm>
            <a:off x="662162" y="3741821"/>
            <a:ext cx="4571386" cy="314024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3" b="23025"/>
          <a:stretch/>
        </p:blipFill>
        <p:spPr>
          <a:xfrm>
            <a:off x="6018214" y="3830538"/>
            <a:ext cx="6133682" cy="3027462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5233548" y="1162881"/>
            <a:ext cx="1554480" cy="1554480"/>
            <a:chOff x="6766560" y="-3286673"/>
            <a:chExt cx="1554480" cy="1554480"/>
          </a:xfrm>
        </p:grpSpPr>
        <p:sp>
          <p:nvSpPr>
            <p:cNvPr id="4" name="Oval 3"/>
            <p:cNvSpPr/>
            <p:nvPr/>
          </p:nvSpPr>
          <p:spPr>
            <a:xfrm>
              <a:off x="6858000" y="-3195233"/>
              <a:ext cx="1371600" cy="137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6560" y="-3286673"/>
              <a:ext cx="1554480" cy="15544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314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loud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659" y="1084647"/>
            <a:ext cx="5248643" cy="3713211"/>
          </a:xfrm>
          <a:prstGeom prst="rect">
            <a:avLst/>
          </a:prstGeom>
        </p:spPr>
      </p:pic>
      <p:pic>
        <p:nvPicPr>
          <p:cNvPr id="4" name="Mint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7149" y="3338391"/>
            <a:ext cx="1087798" cy="451139"/>
          </a:xfrm>
          <a:prstGeom prst="rect">
            <a:avLst/>
          </a:prstGeom>
          <a:effectLst/>
        </p:spPr>
      </p:pic>
      <p:pic>
        <p:nvPicPr>
          <p:cNvPr id="5" name="TurboTax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3712" y="2052036"/>
            <a:ext cx="1371677" cy="390861"/>
          </a:xfrm>
          <a:prstGeom prst="rect">
            <a:avLst/>
          </a:prstGeom>
          <a:effectLst/>
        </p:spPr>
      </p:pic>
      <p:pic>
        <p:nvPicPr>
          <p:cNvPr id="6" name="Quicken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4731" y="3327251"/>
            <a:ext cx="1106745" cy="420870"/>
          </a:xfrm>
          <a:prstGeom prst="rect">
            <a:avLst/>
          </a:prstGeom>
          <a:effectLst/>
        </p:spPr>
      </p:pic>
      <p:pic>
        <p:nvPicPr>
          <p:cNvPr id="8" name="Payroll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500" y="3327251"/>
            <a:ext cx="887617" cy="470503"/>
          </a:xfrm>
          <a:prstGeom prst="rect">
            <a:avLst/>
          </a:prstGeom>
          <a:effectLst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0872" y="2677343"/>
            <a:ext cx="1443507" cy="344828"/>
          </a:xfrm>
          <a:prstGeom prst="rect">
            <a:avLst/>
          </a:prstGeom>
          <a:effectLst/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155" y="2638359"/>
            <a:ext cx="1748594" cy="403522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1118572" y="1253101"/>
            <a:ext cx="1650822" cy="1649053"/>
            <a:chOff x="1720140" y="1171057"/>
            <a:chExt cx="1650822" cy="1649053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720140" y="1171057"/>
              <a:ext cx="1650822" cy="13364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0" name="TextBox 19"/>
            <p:cNvSpPr txBox="1"/>
            <p:nvPr/>
          </p:nvSpPr>
          <p:spPr>
            <a:xfrm>
              <a:off x="1869431" y="2450778"/>
              <a:ext cx="1352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Developers</a:t>
              </a:r>
              <a:endParaRPr lang="en-US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302472" y="5157313"/>
            <a:ext cx="1800619" cy="1671332"/>
            <a:chOff x="4884389" y="4813804"/>
            <a:chExt cx="1800619" cy="1671332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84389" y="4813804"/>
              <a:ext cx="1800619" cy="13364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2" name="TextBox 21"/>
            <p:cNvSpPr txBox="1"/>
            <p:nvPr/>
          </p:nvSpPr>
          <p:spPr>
            <a:xfrm>
              <a:off x="4986681" y="6115804"/>
              <a:ext cx="15960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Data Analysts </a:t>
              </a:r>
              <a:endParaRPr lang="en-US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837191" y="5157313"/>
            <a:ext cx="1758113" cy="1660192"/>
            <a:chOff x="8307704" y="5303959"/>
            <a:chExt cx="1758113" cy="166019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7704" y="5303959"/>
              <a:ext cx="1758113" cy="13364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4" name="TextBox 23"/>
            <p:cNvSpPr txBox="1"/>
            <p:nvPr/>
          </p:nvSpPr>
          <p:spPr>
            <a:xfrm>
              <a:off x="8600527" y="6594819"/>
              <a:ext cx="11724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Scientists</a:t>
              </a:r>
              <a:endParaRPr lang="en-US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9159077" y="3492222"/>
            <a:ext cx="1554932" cy="1637913"/>
            <a:chOff x="9125657" y="3399037"/>
            <a:chExt cx="1554932" cy="163791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5657" y="3399037"/>
              <a:ext cx="1554932" cy="13364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5" name="TextBox 24"/>
            <p:cNvSpPr txBox="1"/>
            <p:nvPr/>
          </p:nvSpPr>
          <p:spPr>
            <a:xfrm>
              <a:off x="9650459" y="4667618"/>
              <a:ext cx="50532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XD</a:t>
              </a:r>
              <a:endParaRPr lang="en-US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9420160" y="1253101"/>
            <a:ext cx="1180910" cy="1626773"/>
            <a:chOff x="9342180" y="1137636"/>
            <a:chExt cx="1180910" cy="162677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42180" y="1137636"/>
              <a:ext cx="1180910" cy="13364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6" name="TextBox 25"/>
            <p:cNvSpPr txBox="1"/>
            <p:nvPr/>
          </p:nvSpPr>
          <p:spPr>
            <a:xfrm>
              <a:off x="9590140" y="2395077"/>
              <a:ext cx="6849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Care</a:t>
              </a:r>
              <a:endParaRPr lang="en-US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880082" y="3514502"/>
            <a:ext cx="2070774" cy="1623796"/>
            <a:chOff x="1359111" y="3290614"/>
            <a:chExt cx="2070774" cy="1623796"/>
          </a:xfrm>
        </p:grpSpPr>
        <p:sp>
          <p:nvSpPr>
            <p:cNvPr id="21" name="TextBox 20"/>
            <p:cNvSpPr txBox="1"/>
            <p:nvPr/>
          </p:nvSpPr>
          <p:spPr>
            <a:xfrm>
              <a:off x="1359111" y="4545078"/>
              <a:ext cx="207077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505050"/>
                  </a:solidFill>
                  <a:cs typeface="Calibri"/>
                </a:rPr>
                <a:t>Product Managers</a:t>
              </a:r>
              <a:endParaRPr lang="en-US" dirty="0"/>
            </a:p>
          </p:txBody>
        </p:sp>
        <p:pic>
          <p:nvPicPr>
            <p:cNvPr id="33" name="Picture 32" descr="PM.jpg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6966" y="3290614"/>
              <a:ext cx="1655064" cy="134416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35" name="Up-Down Arrow 34"/>
          <p:cNvSpPr>
            <a:spLocks/>
          </p:cNvSpPr>
          <p:nvPr/>
        </p:nvSpPr>
        <p:spPr bwMode="auto">
          <a:xfrm rot="5400000">
            <a:off x="4023308" y="166122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Up-Down Arrow 35"/>
          <p:cNvSpPr>
            <a:spLocks/>
          </p:cNvSpPr>
          <p:nvPr/>
        </p:nvSpPr>
        <p:spPr bwMode="auto">
          <a:xfrm rot="5400000">
            <a:off x="3399458" y="231173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Up-Down Arrow 36"/>
          <p:cNvSpPr>
            <a:spLocks/>
          </p:cNvSpPr>
          <p:nvPr/>
        </p:nvSpPr>
        <p:spPr bwMode="auto">
          <a:xfrm rot="5400000">
            <a:off x="7242851" y="166122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Up-Down Arrow 37"/>
          <p:cNvSpPr>
            <a:spLocks/>
          </p:cNvSpPr>
          <p:nvPr/>
        </p:nvSpPr>
        <p:spPr bwMode="auto">
          <a:xfrm rot="5400000">
            <a:off x="8345732" y="231173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Up-Down Arrow 38"/>
          <p:cNvSpPr>
            <a:spLocks/>
          </p:cNvSpPr>
          <p:nvPr/>
        </p:nvSpPr>
        <p:spPr bwMode="auto">
          <a:xfrm rot="3240000">
            <a:off x="4012171" y="372650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Up-Down Arrow 39"/>
          <p:cNvSpPr>
            <a:spLocks/>
          </p:cNvSpPr>
          <p:nvPr/>
        </p:nvSpPr>
        <p:spPr bwMode="auto">
          <a:xfrm rot="10800000">
            <a:off x="5913486" y="3933760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Up-Down Arrow 40"/>
          <p:cNvSpPr>
            <a:spLocks/>
          </p:cNvSpPr>
          <p:nvPr/>
        </p:nvSpPr>
        <p:spPr bwMode="auto">
          <a:xfrm rot="18360000" flipH="1">
            <a:off x="7844426" y="3726501"/>
            <a:ext cx="272733" cy="1110282"/>
          </a:xfrm>
          <a:prstGeom prst="upDown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Down Arrow 43"/>
          <p:cNvSpPr/>
          <p:nvPr/>
        </p:nvSpPr>
        <p:spPr bwMode="auto">
          <a:xfrm rot="835054">
            <a:off x="4177593" y="4333926"/>
            <a:ext cx="274192" cy="891192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6" name="Down Arrow 45"/>
          <p:cNvSpPr/>
          <p:nvPr/>
        </p:nvSpPr>
        <p:spPr bwMode="auto">
          <a:xfrm rot="17494669" flipH="1">
            <a:off x="8706369" y="3305897"/>
            <a:ext cx="274192" cy="891192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20764946" flipH="1">
            <a:off x="7308001" y="4333926"/>
            <a:ext cx="274192" cy="891192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4105331">
            <a:off x="3024837" y="3305897"/>
            <a:ext cx="274192" cy="891192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9" name="Down Arrow 48"/>
          <p:cNvSpPr/>
          <p:nvPr/>
        </p:nvSpPr>
        <p:spPr bwMode="auto">
          <a:xfrm rot="5400000">
            <a:off x="3733184" y="848698"/>
            <a:ext cx="274192" cy="1724828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1" name="Down Arrow 50"/>
          <p:cNvSpPr/>
          <p:nvPr/>
        </p:nvSpPr>
        <p:spPr bwMode="auto">
          <a:xfrm rot="16200000" flipH="1">
            <a:off x="8040898" y="848698"/>
            <a:ext cx="274192" cy="1724828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96942" y="0"/>
            <a:ext cx="11566366" cy="1200329"/>
          </a:xfrm>
          <a:prstGeom prst="rect">
            <a:avLst/>
          </a:prstGeom>
          <a:effectLst>
            <a:outerShdw blurRad="76200" dist="50800" dir="5400000" sx="15000" sy="15000" rotWithShape="0">
              <a:prstClr val="black"/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7200" dirty="0" smtClean="0">
                <a:solidFill>
                  <a:srgbClr val="000000"/>
                </a:solidFill>
                <a:latin typeface="HelveticaNeueLT Std Thin" panose="020B0403020202020204" pitchFamily="34" charset="0"/>
                <a:cs typeface="Gotham Bold" pitchFamily="50" charset="0"/>
              </a:rPr>
              <a:t>The Intuit analytics cloud</a:t>
            </a:r>
            <a:endParaRPr lang="en-US" sz="7200" dirty="0">
              <a:solidFill>
                <a:srgbClr val="000000"/>
              </a:solidFill>
              <a:latin typeface="HelveticaNeueLT Std Thin" panose="020B0403020202020204" pitchFamily="34" charset="0"/>
              <a:cs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8722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8" t="5745" r="1483" b="6284"/>
          <a:stretch/>
        </p:blipFill>
        <p:spPr>
          <a:xfrm>
            <a:off x="-25923" y="-20473"/>
            <a:ext cx="12214748" cy="687847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3624349" y="2661750"/>
            <a:ext cx="7198822" cy="1400384"/>
            <a:chOff x="3624349" y="2661750"/>
            <a:chExt cx="7198822" cy="1400384"/>
          </a:xfrm>
        </p:grpSpPr>
        <p:sp>
          <p:nvSpPr>
            <p:cNvPr id="3" name="Rectangle 2"/>
            <p:cNvSpPr/>
            <p:nvPr/>
          </p:nvSpPr>
          <p:spPr>
            <a:xfrm>
              <a:off x="3624349" y="2678376"/>
              <a:ext cx="7198822" cy="13837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>
              <a:outerShdw blurRad="228600" dist="38100" dir="2700000" algn="tl" rotWithShape="0">
                <a:prstClr val="black">
                  <a:alpha val="8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826569" y="2661750"/>
              <a:ext cx="6930102" cy="14003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500" dirty="0" smtClean="0">
                  <a:solidFill>
                    <a:schemeClr val="bg1"/>
                  </a:solidFill>
                  <a:latin typeface="HelveticaNeueLT Std Thin" panose="020B0403020202020204" pitchFamily="34" charset="0"/>
                  <a:cs typeface="Gotham Bold" pitchFamily="50" charset="0"/>
                </a:rPr>
                <a:t>Paint a picture.</a:t>
              </a:r>
              <a:endParaRPr lang="en-US" sz="85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95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26311" y="179596"/>
            <a:ext cx="115903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Customer trust is</a:t>
            </a:r>
            <a:br>
              <a:rPr lang="en-US" sz="7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</a:br>
            <a:r>
              <a:rPr lang="en-US" sz="72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everything to a company</a:t>
            </a:r>
            <a:r>
              <a:rPr lang="en-US" sz="6500" dirty="0" smtClean="0">
                <a:solidFill>
                  <a:schemeClr val="bg1"/>
                </a:solidFill>
                <a:latin typeface="Helvetica Neue"/>
                <a:cs typeface="Helvetica Neue"/>
              </a:rPr>
              <a:t>. </a:t>
            </a:r>
            <a:endParaRPr lang="en-US" sz="6500" dirty="0">
              <a:solidFill>
                <a:schemeClr val="bg1"/>
              </a:solidFill>
              <a:latin typeface="Helvetica Neue"/>
              <a:cs typeface="Helvetica Neue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9" t="10957" r="4711" b="9704"/>
          <a:stretch/>
        </p:blipFill>
        <p:spPr>
          <a:xfrm>
            <a:off x="-1" y="-1"/>
            <a:ext cx="12188825" cy="685800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406416" y="4916095"/>
            <a:ext cx="8238892" cy="1490152"/>
          </a:xfrm>
          <a:prstGeom prst="rect">
            <a:avLst/>
          </a:prstGeom>
          <a:solidFill>
            <a:srgbClr val="000000"/>
          </a:solidFill>
          <a:effectLst>
            <a:outerShdw blurRad="228600" dist="38100" algn="ctr" rotWithShape="0">
              <a:prstClr val="black">
                <a:alpha val="88000"/>
              </a:prstClr>
            </a:outerShdw>
          </a:effectLst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50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Customer trust </a:t>
            </a:r>
            <a:r>
              <a:rPr lang="en-US" sz="50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is everything </a:t>
            </a:r>
            <a:r>
              <a:rPr lang="en-US" sz="5000" dirty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to </a:t>
            </a:r>
            <a:r>
              <a:rPr lang="en-US" sz="5000" dirty="0" smtClean="0">
                <a:solidFill>
                  <a:schemeClr val="bg1"/>
                </a:solidFill>
                <a:latin typeface="HelveticaNeueLT Std Thin" panose="020B0403020202020204" pitchFamily="34" charset="0"/>
                <a:cs typeface="Gotham Bold" pitchFamily="50" charset="0"/>
              </a:rPr>
              <a:t>a company</a:t>
            </a:r>
            <a:r>
              <a:rPr lang="en-US" sz="5000" dirty="0" smtClean="0">
                <a:solidFill>
                  <a:schemeClr val="bg1"/>
                </a:solidFill>
                <a:latin typeface="Helvetica Neue"/>
                <a:cs typeface="Helvetica Neue"/>
              </a:rPr>
              <a:t>. </a:t>
            </a:r>
            <a:endParaRPr lang="en-US" sz="5000" dirty="0">
              <a:solidFill>
                <a:schemeClr val="bg1"/>
              </a:solidFill>
              <a:latin typeface="Helvetica Neue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407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9" t="9311" r="194" b="9399"/>
          <a:stretch/>
        </p:blipFill>
        <p:spPr>
          <a:xfrm>
            <a:off x="0" y="-14990"/>
            <a:ext cx="12188825" cy="688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0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01 Intuit Template - White Background - Widescreen.potx" id="{F6853B13-750B-4ACB-AAD0-6758DE8B1A4A}" vid="{78A17214-F75E-480E-8C80-9E04E6989E8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tuit Blue Background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01 Intuit Template - White Background - Widescreen.potx" id="{F6853B13-750B-4ACB-AAD0-6758DE8B1A4A}" vid="{207416F9-1DAE-410C-915D-A76A7553BEF6}"/>
    </a:ext>
  </a:extLst>
</a:theme>
</file>

<file path=ppt/theme/theme3.xml><?xml version="1.0" encoding="utf-8"?>
<a:theme xmlns:a="http://schemas.openxmlformats.org/drawingml/2006/main" name="1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01 Intuit Template - White Background - Widescreen.potx" id="{F6853B13-750B-4ACB-AAD0-6758DE8B1A4A}" vid="{78A17214-F75E-480E-8C80-9E04E6989E8E}"/>
    </a:ext>
  </a:extLst>
</a:theme>
</file>

<file path=ppt/theme/theme4.xml><?xml version="1.0" encoding="utf-8"?>
<a:theme xmlns:a="http://schemas.openxmlformats.org/drawingml/2006/main" name="2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01 Intuit Template - White Background - Widescreen.potx" id="{F6853B13-750B-4ACB-AAD0-6758DE8B1A4A}" vid="{78A17214-F75E-480E-8C80-9E04E6989E8E}"/>
    </a:ext>
  </a:extLst>
</a:theme>
</file>

<file path=ppt/theme/theme5.xml><?xml version="1.0" encoding="utf-8"?>
<a:theme xmlns:a="http://schemas.openxmlformats.org/drawingml/2006/main" name="3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01 Intuit Template - White Background - Widescreen.potx" id="{F6853B13-750B-4ACB-AAD0-6758DE8B1A4A}" vid="{78A17214-F75E-480E-8C80-9E04E6989E8E}"/>
    </a:ext>
  </a:extLst>
</a:theme>
</file>

<file path=ppt/theme/theme6.xml><?xml version="1.0" encoding="utf-8"?>
<a:theme xmlns:a="http://schemas.openxmlformats.org/drawingml/2006/main" name="4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01 Intuit Template - White Background - Widescreen.potx" id="{F6853B13-750B-4ACB-AAD0-6758DE8B1A4A}" vid="{78A17214-F75E-480E-8C80-9E04E6989E8E}"/>
    </a:ext>
  </a:extLst>
</a:theme>
</file>

<file path=ppt/theme/theme7.xml><?xml version="1.0" encoding="utf-8"?>
<a:theme xmlns:a="http://schemas.openxmlformats.org/drawingml/2006/main" name="5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01 Intuit Template - White Background - Widescreen.potx" id="{F6853B13-750B-4ACB-AAD0-6758DE8B1A4A}" vid="{78A17214-F75E-480E-8C80-9E04E6989E8E}"/>
    </a:ext>
  </a:extLst>
</a:theme>
</file>

<file path=ppt/theme/theme8.xml><?xml version="1.0" encoding="utf-8"?>
<a:theme xmlns:a="http://schemas.openxmlformats.org/drawingml/2006/main" name="29_Intuit Temp 01">
  <a:themeElements>
    <a:clrScheme name="INTUIT Brand Colors">
      <a:dk1>
        <a:sysClr val="windowText" lastClr="000000"/>
      </a:dk1>
      <a:lt1>
        <a:sysClr val="window" lastClr="FFFFFF"/>
      </a:lt1>
      <a:dk2>
        <a:srgbClr val="3F3F3F"/>
      </a:dk2>
      <a:lt2>
        <a:srgbClr val="365EBF"/>
      </a:lt2>
      <a:accent1>
        <a:srgbClr val="2CA01C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FS Albert &amp; Arial">
      <a:majorFont>
        <a:latin typeface="FS Alber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ntuit_circl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_circl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_circl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_circl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_circl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_circl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_circl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01 Intuit Template - White Background - Widescreen.potx" id="{F6853B13-750B-4ACB-AAD0-6758DE8B1A4A}" vid="{78A17214-F75E-480E-8C80-9E04E6989E8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81</TotalTime>
  <Words>181</Words>
  <Application>Microsoft Office PowerPoint</Application>
  <PresentationFormat>Custom</PresentationFormat>
  <Paragraphs>70</Paragraphs>
  <Slides>20</Slides>
  <Notes>20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White Template Blue Intuit Logo</vt:lpstr>
      <vt:lpstr>Intuit Blue Background</vt:lpstr>
      <vt:lpstr>1_White Template Blue Intuit Logo</vt:lpstr>
      <vt:lpstr>2_White Template Blue Intuit Logo</vt:lpstr>
      <vt:lpstr>3_White Template Blue Intuit Logo</vt:lpstr>
      <vt:lpstr>4_White Template Blue Intuit Logo</vt:lpstr>
      <vt:lpstr>5_White Template Blue Intuit Logo</vt:lpstr>
      <vt:lpstr>29_Intuit Temp 01</vt:lpstr>
      <vt:lpstr>6_White Template Blue Intuit Log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ntuit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 Background</dc:title>
  <dc:creator>Maddox, Linda</dc:creator>
  <cp:lastModifiedBy>Ori Nagel</cp:lastModifiedBy>
  <cp:revision>547</cp:revision>
  <cp:lastPrinted>2015-02-16T21:27:11Z</cp:lastPrinted>
  <dcterms:created xsi:type="dcterms:W3CDTF">2014-06-24T00:52:19Z</dcterms:created>
  <dcterms:modified xsi:type="dcterms:W3CDTF">2015-04-17T17:43:09Z</dcterms:modified>
</cp:coreProperties>
</file>